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5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32" r:id="rId7"/>
    <p:sldMasterId id="2147484036" r:id="rId8"/>
    <p:sldMasterId id="2147483742" r:id="rId9"/>
    <p:sldMasterId id="2147483824" r:id="rId10"/>
    <p:sldMasterId id="2147483984" r:id="rId11"/>
    <p:sldMasterId id="2147483859" r:id="rId12"/>
    <p:sldMasterId id="2147483929" r:id="rId13"/>
    <p:sldMasterId id="2147483783" r:id="rId14"/>
  </p:sldMasterIdLst>
  <p:notesMasterIdLst>
    <p:notesMasterId r:id="rId33"/>
  </p:notesMasterIdLst>
  <p:handoutMasterIdLst>
    <p:handoutMasterId r:id="rId34"/>
  </p:handoutMasterIdLst>
  <p:sldIdLst>
    <p:sldId id="727" r:id="rId15"/>
    <p:sldId id="11481" r:id="rId16"/>
    <p:sldId id="11482" r:id="rId17"/>
    <p:sldId id="11476" r:id="rId18"/>
    <p:sldId id="11478" r:id="rId19"/>
    <p:sldId id="751" r:id="rId20"/>
    <p:sldId id="870" r:id="rId21"/>
    <p:sldId id="868" r:id="rId22"/>
    <p:sldId id="925" r:id="rId23"/>
    <p:sldId id="927" r:id="rId24"/>
    <p:sldId id="888" r:id="rId25"/>
    <p:sldId id="914" r:id="rId26"/>
    <p:sldId id="918" r:id="rId27"/>
    <p:sldId id="899" r:id="rId28"/>
    <p:sldId id="897" r:id="rId29"/>
    <p:sldId id="842" r:id="rId30"/>
    <p:sldId id="856" r:id="rId31"/>
    <p:sldId id="907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7662844B-606A-C643-B22E-7245340A0AB3}">
          <p14:sldIdLst>
            <p14:sldId id="11481"/>
            <p14:sldId id="11482"/>
            <p14:sldId id="11476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IA with an LMS" id="{B65C7815-9E2E-41E1-92DF-5B402E697B61}">
          <p14:sldIdLst>
            <p14:sldId id="888"/>
            <p14:sldId id="914"/>
            <p14:sldId id="918"/>
            <p14:sldId id="899"/>
            <p14:sldId id="89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8"/>
    <p:restoredTop sz="94565"/>
  </p:normalViewPr>
  <p:slideViewPr>
    <p:cSldViewPr snapToGrid="0">
      <p:cViewPr varScale="1">
        <p:scale>
          <a:sx n="97" d="100"/>
          <a:sy n="97" d="100"/>
        </p:scale>
        <p:origin x="67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microsoft.com/office/2018/10/relationships/authors" Target="authors.xml"/><Relationship Id="rId21" Type="http://schemas.openxmlformats.org/officeDocument/2006/relationships/slide" Target="slides/slide7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2699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651C7-1262-D385-544C-8BEC063A7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9DA3EB-D458-CBAD-518B-34CBD54AE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78241-DEFA-7613-AA38-20196D1D2A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4BE7E0-2AE8-63C3-1829-B49D890FAE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2102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9226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2CEE5-D59A-A85C-DE38-2DFB58003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97B12C-7AE7-F1DB-71AC-5DF6BC329B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A7715B-FE4D-D364-AE4D-FA14CF4C6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C00F6-30C3-D648-FA64-F0F18F8B2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56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996E3-F87B-FB54-02DC-3621EF06F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97B643-6569-4DCF-76DF-34FAAA412E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E01EF-98EF-B685-F012-8F98B6CD27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B81A7-CDFE-A673-4616-8538FB4D7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487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 b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7990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977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9.sv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288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858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28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914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36399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1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2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4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14.emf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9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1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2" r:id="rId11"/>
    <p:sldLayoutId id="2147484043" r:id="rId12"/>
    <p:sldLayoutId id="2147484044" r:id="rId13"/>
    <p:sldLayoutId id="2147484045" r:id="rId14"/>
    <p:sldLayoutId id="2147484046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53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Arial"/>
                <a:cs typeface="Arial"/>
              </a:rPr>
              <a:t>Slides Available for the First Day of Class: Sharpen Companion, IA, Canvas</a:t>
            </a:r>
            <a:endParaRPr lang="en-US" sz="20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95" y="1912707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5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6 – 10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GO with an LMS: Canvas Slides 11 – 15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16 – 18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0B01D-8DBC-9F1E-3B97-FF92CFAB0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03870-FCA4-E12F-52B4-845ED0C92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29F3FF-7CC1-D15F-4DB3-B64545C14ED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8651" y="2662133"/>
            <a:ext cx="3661086" cy="14205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etting Started with McGraw Hill GO</a:t>
            </a:r>
            <a:r>
              <a:rPr kumimoji="0" lang="en-US" sz="2400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®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nd Sharpen</a:t>
            </a: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0B8464-49AE-C397-7E5D-28CE153B1CC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A57D66-C95C-BCF5-7AB1-383423B18F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490" y="1714895"/>
            <a:ext cx="7081838" cy="445067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>
                <a:latin typeface="Arial"/>
                <a:cs typeface="Arial"/>
              </a:rPr>
              <a:t>Sharpen Companion Purchase Flow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b="1">
                <a:solidFill>
                  <a:srgbClr val="333333"/>
                </a:solidFill>
                <a:latin typeface="Arial"/>
                <a:cs typeface="Arial"/>
              </a:rPr>
              <a:t>GO: IA Integrated with a Learning Management System (LMS)</a:t>
            </a:r>
            <a:endParaRPr lang="en-US" sz="2000" b="1">
              <a:solidFill>
                <a:srgbClr val="33333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 b="1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54C2D5-B8ED-AD46-B73E-0BEFDC113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  <p:pic>
        <p:nvPicPr>
          <p:cNvPr id="18" name="Picture 17" descr="Sharpen on a computer and mobile phone.">
            <a:extLst>
              <a:ext uri="{FF2B5EF4-FFF2-40B4-BE49-F238E27FC236}">
                <a16:creationId xmlns:a16="http://schemas.microsoft.com/office/drawing/2014/main" id="{789516DD-9EA6-7723-D2A1-1EA51E3201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6" name="Group 15" descr="GO on a computer screen.">
            <a:extLst>
              <a:ext uri="{FF2B5EF4-FFF2-40B4-BE49-F238E27FC236}">
                <a16:creationId xmlns:a16="http://schemas.microsoft.com/office/drawing/2014/main" id="{515869D5-0127-9B46-1696-FA5BA5DD02DB}"/>
              </a:ext>
            </a:extLst>
          </p:cNvPr>
          <p:cNvGrpSpPr/>
          <p:nvPr/>
        </p:nvGrpSpPr>
        <p:grpSpPr>
          <a:xfrm>
            <a:off x="7937330" y="4767193"/>
            <a:ext cx="2163756" cy="1870873"/>
            <a:chOff x="2661057" y="4201464"/>
            <a:chExt cx="2937302" cy="240196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DA9513-330B-521C-2313-6AD42A0CACBC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4" name="Picture 13" descr="Course with McGraw Hill Connect ...">
                <a:extLst>
                  <a:ext uri="{FF2B5EF4-FFF2-40B4-BE49-F238E27FC236}">
                    <a16:creationId xmlns:a16="http://schemas.microsoft.com/office/drawing/2014/main" id="{403AD63A-4C0A-9B57-AF84-D73B7B22D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5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43701E6A-6B79-C20B-437A-03A05CDBC0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3" name="Picture 12" descr="McGraw Hill GO">
              <a:extLst>
                <a:ext uri="{FF2B5EF4-FFF2-40B4-BE49-F238E27FC236}">
                  <a16:creationId xmlns:a16="http://schemas.microsoft.com/office/drawing/2014/main" id="{977DF234-57AB-427F-DD5C-3A8D77ED0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0704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500561" y="2138795"/>
            <a:ext cx="344415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GO from your Canvas course, click the McGraw Hill GO assignment.</a:t>
            </a:r>
            <a:endParaRPr lang="en-US"/>
          </a:p>
        </p:txBody>
      </p:sp>
      <p:pic>
        <p:nvPicPr>
          <p:cNvPr id="5" name="Picture 5" descr="Screenshot of Assignment in Canvas platform. Yellow rectangle highlights the assignment.">
            <a:extLst>
              <a:ext uri="{FF2B5EF4-FFF2-40B4-BE49-F238E27FC236}">
                <a16:creationId xmlns:a16="http://schemas.microsoft.com/office/drawing/2014/main" id="{85735E9F-3933-DA6A-FE11-779DA68ADA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809" y="3062962"/>
            <a:ext cx="7505699" cy="24725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C44E28-17C5-56F0-AAE0-38B762952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1883" y="4331935"/>
            <a:ext cx="1705592" cy="37456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586874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/>
          </p:cNvSpPr>
          <p:nvPr/>
        </p:nvSpPr>
        <p:spPr>
          <a:xfrm>
            <a:off x="682672" y="2716137"/>
            <a:ext cx="2308129" cy="194890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ccessing McGraw Hill GO:</a:t>
            </a:r>
            <a:b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b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</a:b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50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9354D9-0DCE-DC74-DF5F-904D6D7F3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A896C-E43F-0E80-2A13-61EFC6A7B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6AAE8-7644-5D74-44D0-1A9624E9EB5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59C3E4-969E-A24F-06F6-3BA6BC1D8AB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/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We recommend using your school email address when creating an account. </a:t>
            </a: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latin typeface="Arial"/>
                <a:cs typeface="Arial"/>
              </a:rPr>
              <a:t>Continue</a:t>
            </a:r>
            <a:r>
              <a:rPr lang="en-US" sz="1800"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GO registration screen.">
            <a:extLst>
              <a:ext uri="{FF2B5EF4-FFF2-40B4-BE49-F238E27FC236}">
                <a16:creationId xmlns:a16="http://schemas.microsoft.com/office/drawing/2014/main" id="{C413E688-116B-2F76-E2FE-F89619D79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939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6466A-E173-0F87-2BF7-D6D218DBC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63932-B3B5-75F2-118A-669E0FF67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28F5FF-ED4A-A433-A406-EDF715B62BC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791DF5-9D0F-870A-9AB7-A876969745C4}"/>
              </a:ext>
            </a:extLst>
          </p:cNvPr>
          <p:cNvSpPr txBox="1">
            <a:spLocks/>
          </p:cNvSpPr>
          <p:nvPr/>
        </p:nvSpPr>
        <p:spPr>
          <a:xfrm>
            <a:off x="7648678" y="1718796"/>
            <a:ext cx="4210245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F0EC55-CC1F-8413-11CD-851AC84FE4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843" y="1939336"/>
            <a:ext cx="3694546" cy="17263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719F3D-2BC6-2314-7857-A47AA51B3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814779" y="2626936"/>
            <a:ext cx="2020207" cy="21544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>
                <a:ea typeface="Calibri"/>
                <a:cs typeface="Calibri"/>
              </a:rPr>
              <a:t>Mader, Biology, 14e: Connect with Sharp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D67ADF-8CBB-C45F-ADA6-36F1B1B56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205" y="1860838"/>
            <a:ext cx="4194589" cy="1877044"/>
          </a:xfrm>
          <a:prstGeom prst="rect">
            <a:avLst/>
          </a:prstGeom>
        </p:spPr>
      </p:pic>
      <p:grpSp>
        <p:nvGrpSpPr>
          <p:cNvPr id="18" name="Group 17" descr="Screenshot of registration">
            <a:extLst>
              <a:ext uri="{FF2B5EF4-FFF2-40B4-BE49-F238E27FC236}">
                <a16:creationId xmlns:a16="http://schemas.microsoft.com/office/drawing/2014/main" id="{8DB68F24-D454-A20C-7FB9-17C3CD73A902}"/>
              </a:ext>
            </a:extLst>
          </p:cNvPr>
          <p:cNvGrpSpPr/>
          <p:nvPr/>
        </p:nvGrpSpPr>
        <p:grpSpPr>
          <a:xfrm>
            <a:off x="718282" y="1667967"/>
            <a:ext cx="4867967" cy="2128206"/>
            <a:chOff x="71735" y="1679513"/>
            <a:chExt cx="7257876" cy="3132659"/>
          </a:xfrm>
        </p:grpSpPr>
        <p:pic>
          <p:nvPicPr>
            <p:cNvPr id="17" name="Picture 16" descr="Screenshot highlighting the Complete Registration button users must click on to join the course.">
              <a:extLst>
                <a:ext uri="{FF2B5EF4-FFF2-40B4-BE49-F238E27FC236}">
                  <a16:creationId xmlns:a16="http://schemas.microsoft.com/office/drawing/2014/main" id="{53A73BE1-CA35-EE81-614F-B5E85F70B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414" y="1679513"/>
              <a:ext cx="7232197" cy="3123747"/>
            </a:xfrm>
            <a:prstGeom prst="rect">
              <a:avLst/>
            </a:prstGeom>
          </p:spPr>
        </p:pic>
        <p:pic>
          <p:nvPicPr>
            <p:cNvPr id="16" name="Picture 15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5C0093C3-310D-24DB-47C5-770DF18D4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-276" t="26862" r="54146" b="1082"/>
            <a:stretch/>
          </p:blipFill>
          <p:spPr>
            <a:xfrm>
              <a:off x="71735" y="2660974"/>
              <a:ext cx="3154628" cy="2151198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18BB77-C605-3B8F-4A95-97F4667C28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5201" y="2498259"/>
            <a:ext cx="1744889" cy="54197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0D19D7DE-21D6-2DD0-E0E7-61D200A59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0760" y="4270293"/>
            <a:ext cx="4497780" cy="214720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46FD3D9-DF87-4ABB-1EA1-322E2EB83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7894" y="4269535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576159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etting Started with McGraw Hill GO</a:t>
            </a:r>
            <a:r>
              <a:rPr kumimoji="0" lang="en-US" sz="2400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®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nd Sharpen</a:t>
            </a: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O: IA and non-IA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77C16B1-670C-3BBD-F1A4-E29A6112C4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Canvas with Inclusive Access 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28F83C5E-63EA-44DE-17E6-9F0F1455074E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4A35EAA3-1CAF-177A-4EAE-3389115E3E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42E01869-6C0C-3585-3B13-894CE4ACF1B4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8A34B2D1-50A6-ABEA-704C-D4F24A7034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B44DB8F3-B6F6-04AE-4993-F271D32454FA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DD874A77-70C7-05B1-04FB-4CF4D3F1D96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DD7E40B6-B2CB-705C-EFBC-5B89F09A2C14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60D4D2-729E-2FE9-7A6C-7EF636A34E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A24EA1-2B52-4700-E121-96902E5DEFD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31687B3-1831-C128-9694-D708864C6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5D9A19FA-9A13-76BD-5910-107753C327D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/>
              <a:t>Canvas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4184553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Canvas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A37E27D9-68CB-C500-4457-CDC9E9DD0E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30203"/>
          <a:stretch/>
        </p:blipFill>
        <p:spPr>
          <a:xfrm>
            <a:off x="5105401" y="3085084"/>
            <a:ext cx="5238750" cy="2472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4576266B-EE17-DD88-3753-D61B9D940D38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216541A0-C792-F6E5-52C8-8D2D4E0928EE}"/>
              </a:ext>
            </a:extLst>
          </p:cNvPr>
          <p:cNvSpPr txBox="1">
            <a:spLocks/>
          </p:cNvSpPr>
          <p:nvPr/>
        </p:nvSpPr>
        <p:spPr>
          <a:xfrm>
            <a:off x="750407" y="190253"/>
            <a:ext cx="49061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anvas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0B835A-CF5A-3A0D-083B-C0D4A39C9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348652" y="4557360"/>
            <a:ext cx="2700167" cy="1548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rgbClr val="000000"/>
              </a:solidFill>
              <a:latin typeface="Magazine Grotesque" panose="00000500000000000000" pitchFamily="50" charset="0"/>
            </a:endParaRPr>
          </a:p>
        </p:txBody>
      </p: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3873" y="1530018"/>
            <a:ext cx="10706330" cy="506028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1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5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6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7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8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ppt/theme/theme9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D209DAC-BC1E-49E2-B98B-BA1CDBEA2444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24</TotalTime>
  <Words>909</Words>
  <Application>Microsoft Macintosh PowerPoint</Application>
  <PresentationFormat>Widescreen</PresentationFormat>
  <Paragraphs>120</Paragraphs>
  <Slides>18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IA, Canvas</vt:lpstr>
      <vt:lpstr>McGraw Hill GO</vt:lpstr>
      <vt:lpstr>What is McGraw Hill GO?</vt:lpstr>
      <vt:lpstr>Step 1</vt:lpstr>
      <vt:lpstr>Step 2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Getting Started with McGraw Hill GO® and Sharpen</vt:lpstr>
      <vt:lpstr>Accessing McGraw Hill GO:  Canvas</vt:lpstr>
      <vt:lpstr>Step 2</vt:lpstr>
      <vt:lpstr>Step 3: </vt:lpstr>
      <vt:lpstr>Step 4: </vt:lpstr>
      <vt:lpstr>Sharpen Companion Log-In Flow GO: IA and non-IA  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7</cp:revision>
  <dcterms:created xsi:type="dcterms:W3CDTF">2023-07-10T01:20:11Z</dcterms:created>
  <dcterms:modified xsi:type="dcterms:W3CDTF">2025-05-30T16:2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